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82" d="100"/>
          <a:sy n="82" d="100"/>
        </p:scale>
        <p:origin x="1699" y="72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tags" Target="tags/tag1.xml"/><Relationship Id="rId10" Type="http://schemas.openxmlformats.org/officeDocument/2006/relationships/customXml" Target="../customXml/item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12/03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12/03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6282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900774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de-DE" dirty="1" kumimoji="0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NUTZEN UND VORTEILE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lang="de-DE" dirty="1" kumimoji="0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BESCHREIBUNG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 dirty="1"/>
              <a:t>Vorbeugen von Lieferengpässen bei Ersatzteilen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de-DE" dirty="1"/>
              <a:t>SPS-Feldmodul-Aktualisierung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utzen: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bsoleszenz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stattung: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RAA, SREV, SRSC, SFB, SRE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atalog-Code: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CF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622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dirty="1" sz="1200" b="1"/>
              <a:t>Sicherere Lösung mit neustem am Markt verfügbaren Bauteil.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dirty="1" sz="1200" b="1">
                <a:solidFill>
                  <a:srgbClr val="E64B00"/>
                </a:solidFill>
              </a:rPr>
              <a:t>Kann lange Stillstandszeiten bei Ausfall vermeiden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dirty="1" sz="1200">
                <a:solidFill>
                  <a:srgbClr val="000000"/>
                </a:solidFill>
              </a:rPr>
              <a:t>Die Produktion der Allen Bradley DH+/RIO Adapter wurde vom Hersteller eingestellt.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dirty="1" sz="1200">
                <a:solidFill>
                  <a:srgbClr val="000000"/>
                </a:solidFill>
              </a:rPr>
              <a:t>Gefahr bevorstehender Nichtverfügbarkeit von Ersatzteilen.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dirty="1" sz="1200">
                <a:solidFill>
                  <a:srgbClr val="000000"/>
                </a:solidFill>
              </a:rPr>
              <a:t>Gefahr langer Stillstandszeiten der Anlage in den Abfüllbetrieben.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dirty="1" sz="1200" b="1">
                <a:solidFill>
                  <a:srgbClr val="E64B00"/>
                </a:solidFill>
              </a:rPr>
              <a:t>Verbessertes Kommunikationsprotokoll dank Ethernet IP Kommunikations-Standard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dirty="1" sz="1200" b="1">
                <a:solidFill>
                  <a:srgbClr val="E64B00"/>
                </a:solidFill>
              </a:rPr>
              <a:t>Kontinuierliche Ersatzteilversorgung</a:t>
            </a:r>
            <a:r>
              <a:rPr lang="de-DE" dirty="1" sz="1200" b="1">
                <a:solidFill>
                  <a:srgbClr val="E64B00"/>
                </a:solidFill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dirty="1" sz="1200">
                <a:solidFill>
                  <a:srgbClr val="000000"/>
                </a:solidFill>
              </a:rPr>
              <a:t>Aktualisierte Hardwarelösung mit völlig aktiven Komponenten: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dirty="1" sz="1200">
                <a:solidFill>
                  <a:srgbClr val="000000"/>
                </a:solidFill>
              </a:rPr>
              <a:t>Das neue System besteht aus neuen Ethernet IP Adaptern und neuer Protokoll-Verkabelung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dirty="1" sz="1200">
                <a:solidFill>
                  <a:srgbClr val="000000"/>
                </a:solidFill>
              </a:rPr>
              <a:t>Möglichkeit der Einzelfallprüfung einer Aktualisierung von HMI, SPS und Frequenzumrichtern.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dirty="1" sz="1200">
                <a:solidFill>
                  <a:srgbClr val="000000"/>
                </a:solidFill>
              </a:rPr>
              <a:t>*Machbarkeit durch Einzelfallprüfung zu beurteilen.</a:t>
            </a:r>
          </a:p>
        </p:txBody>
      </p:sp>
      <p:sp>
        <p:nvSpPr>
          <p:cNvPr id="29" name="CasellaDiTesto 10">
            <a:extLst>
              <a:ext uri="{FF2B5EF4-FFF2-40B4-BE49-F238E27FC236}">
                <a16:creationId xmlns:a16="http://schemas.microsoft.com/office/drawing/2014/main" id="{05A0C63E-A7CD-4992-B259-7934A73B74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59204" y="4172259"/>
            <a:ext cx="3694509" cy="14025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dirty="1" sz="900" b="1" i="1">
                <a:solidFill>
                  <a:schemeClr val="folHlink"/>
                </a:solidFill>
              </a:rPr>
              <a:t>Aktualisierung von Automatisierungs-Peripheriemodulen</a:t>
            </a:r>
          </a:p>
        </p:txBody>
      </p:sp>
      <p:pic>
        <p:nvPicPr>
          <p:cNvPr id="30" name="Picture 4">
            <a:extLst>
              <a:ext uri="{FF2B5EF4-FFF2-40B4-BE49-F238E27FC236}">
                <a16:creationId xmlns:a16="http://schemas.microsoft.com/office/drawing/2014/main" id="{95FBF2EA-C5AB-412C-B77A-44C47FE53E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9859" y="4625888"/>
            <a:ext cx="1575197" cy="754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C801F8B-2E37-43B9-93FE-D4FB8BAD79D2}"/>
</file>

<file path=customXml/itemProps2.xml><?xml version="1.0" encoding="utf-8"?>
<ds:datastoreItem xmlns:ds="http://schemas.openxmlformats.org/officeDocument/2006/customXml" ds:itemID="{351634A1-35A2-47CE-A21B-C617438F2522}"/>
</file>

<file path=customXml/itemProps3.xml><?xml version="1.0" encoding="utf-8"?>
<ds:datastoreItem xmlns:ds="http://schemas.openxmlformats.org/officeDocument/2006/customXml" ds:itemID="{03A028AC-BCD5-4DAD-BAC9-D2703C09B97F}"/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75</TotalTime>
  <Words>147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nticipate spare parts short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3</cp:revision>
  <dcterms:created xsi:type="dcterms:W3CDTF">2019-02-20T10:39:16Z</dcterms:created>
  <dcterms:modified xsi:type="dcterms:W3CDTF">2020-03-12T13:21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